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494" r:id="rId2"/>
    <p:sldId id="495" r:id="rId3"/>
    <p:sldId id="511" r:id="rId4"/>
    <p:sldId id="498" r:id="rId5"/>
    <p:sldId id="496" r:id="rId6"/>
    <p:sldId id="497" r:id="rId7"/>
    <p:sldId id="500" r:id="rId8"/>
    <p:sldId id="501" r:id="rId9"/>
    <p:sldId id="504" r:id="rId10"/>
    <p:sldId id="502" r:id="rId11"/>
    <p:sldId id="503" r:id="rId12"/>
    <p:sldId id="505" r:id="rId13"/>
    <p:sldId id="506" r:id="rId14"/>
    <p:sldId id="507" r:id="rId15"/>
    <p:sldId id="509" r:id="rId16"/>
    <p:sldId id="508" r:id="rId17"/>
    <p:sldId id="499" r:id="rId18"/>
    <p:sldId id="510" r:id="rId19"/>
    <p:sldId id="489" r:id="rId20"/>
  </p:sldIdLst>
  <p:sldSz cx="9144000" cy="6858000" type="screen4x3"/>
  <p:notesSz cx="10007600" cy="6794500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bian Scheurer" initials="fsc" lastIdx="23" clrIdx="0"/>
  <p:cmAuthor id="1" name="Walter Fallegger" initials="WF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5D5"/>
    <a:srgbClr val="FFFFFF"/>
    <a:srgbClr val="EBF0FA"/>
    <a:srgbClr val="EBF5FA"/>
    <a:srgbClr val="00339B"/>
    <a:srgbClr val="FFDC44"/>
    <a:srgbClr val="E64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8084" autoAdjust="0"/>
    <p:restoredTop sz="97789" autoAdjust="0"/>
  </p:normalViewPr>
  <p:slideViewPr>
    <p:cSldViewPr showGuides="1">
      <p:cViewPr>
        <p:scale>
          <a:sx n="90" d="100"/>
          <a:sy n="90" d="100"/>
        </p:scale>
        <p:origin x="-1188" y="-96"/>
      </p:cViewPr>
      <p:guideLst>
        <p:guide orient="horz" pos="1162"/>
        <p:guide orient="horz" pos="436"/>
        <p:guide orient="horz" pos="3884"/>
        <p:guide orient="horz" pos="3612"/>
        <p:guide orient="horz" pos="2160"/>
        <p:guide pos="385"/>
        <p:guide pos="5375"/>
        <p:guide pos="2880"/>
        <p:guide pos="2971"/>
        <p:guide pos="2789"/>
      </p:guideLst>
    </p:cSldViewPr>
  </p:slideViewPr>
  <p:outlineViewPr>
    <p:cViewPr>
      <p:scale>
        <a:sx n="33" d="100"/>
        <a:sy n="33" d="100"/>
      </p:scale>
      <p:origin x="0" y="18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127" d="100"/>
          <a:sy n="127" d="100"/>
        </p:scale>
        <p:origin x="-1674" y="-102"/>
      </p:cViewPr>
      <p:guideLst>
        <p:guide orient="horz" pos="2140"/>
        <p:guide pos="315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69883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A7772BF3-AF3D-43EE-B1A5-F68EFE48C881}" type="datetime1">
              <a:rPr lang="de-DE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Corporate Presentation</a:t>
            </a: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69883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8128B4CB-9FB8-4530-8BC9-B71C8AF4697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66231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69883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C5623922-EA55-48C0-A093-F275FF7952E4}" type="datetime1">
              <a:rPr lang="de-DE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1136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305175" y="509588"/>
            <a:ext cx="3397250" cy="2547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34504" y="3227938"/>
            <a:ext cx="7338595" cy="305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Corporate Presentation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69883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C00D9AA7-9C2C-420B-9163-D67DA61B269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820655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623922-EA55-48C0-A093-F275FF7952E4}" type="datetime1">
              <a:rPr lang="de-DE" smtClean="0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D9AA7-9C2C-420B-9163-D67DA61B2697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856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tif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tif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tiff"/><Relationship Id="rId5" Type="http://schemas.openxmlformats.org/officeDocument/2006/relationships/image" Target="../media/image2.w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.tif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1.tif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.tif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1.tif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1.tif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tif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tiff"/><Relationship Id="rId3" Type="http://schemas.openxmlformats.org/officeDocument/2006/relationships/tags" Target="../tags/tag4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BalSoBa_blue_rgb.ti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3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611188" y="690524"/>
            <a:ext cx="7923213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0"/>
          </p:nvPr>
        </p:nvSpPr>
        <p:spPr>
          <a:xfrm>
            <a:off x="611187" y="1844675"/>
            <a:ext cx="7921626" cy="388937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6167475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1400" b="1" noProof="0" dirty="0">
              <a:solidFill>
                <a:schemeClr val="accent1"/>
              </a:solidFill>
            </a:endParaRPr>
          </a:p>
        </p:txBody>
      </p:sp>
      <p:pic>
        <p:nvPicPr>
          <p:cNvPr id="11" name="Grafik 10" descr="Unbenannt-1.w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6678658"/>
            <a:ext cx="9144000" cy="1899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1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6"/>
          <p:cNvGrpSpPr/>
          <p:nvPr userDrawn="1"/>
        </p:nvGrpSpPr>
        <p:grpSpPr>
          <a:xfrm>
            <a:off x="0" y="6678656"/>
            <a:ext cx="9144000" cy="179344"/>
            <a:chOff x="0" y="5976000"/>
            <a:chExt cx="9144000" cy="180000"/>
          </a:xfrm>
        </p:grpSpPr>
        <p:sp>
          <p:nvSpPr>
            <p:cNvPr id="18" name="Eine Ecke des Rechtecks schneiden 17"/>
            <p:cNvSpPr/>
            <p:nvPr userDrawn="1"/>
          </p:nvSpPr>
          <p:spPr bwMode="auto">
            <a:xfrm flipH="1">
              <a:off x="6120000" y="5976000"/>
              <a:ext cx="3024000" cy="18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sp>
          <p:nvSpPr>
            <p:cNvPr id="19" name="Eine Ecke des Rechtecks schneiden 18"/>
            <p:cNvSpPr/>
            <p:nvPr userDrawn="1"/>
          </p:nvSpPr>
          <p:spPr bwMode="auto">
            <a:xfrm rot="10800000" flipH="1">
              <a:off x="0" y="5976000"/>
              <a:ext cx="6228000" cy="180000"/>
            </a:xfrm>
            <a:prstGeom prst="snip1Rect">
              <a:avLst>
                <a:gd name="adj" fmla="val 50000"/>
              </a:avLst>
            </a:prstGeom>
            <a:solidFill>
              <a:schemeClr val="tx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sp>
          <p:nvSpPr>
            <p:cNvPr id="20" name="Parallelogramm 19"/>
            <p:cNvSpPr/>
            <p:nvPr userDrawn="1"/>
          </p:nvSpPr>
          <p:spPr bwMode="auto">
            <a:xfrm>
              <a:off x="6048000" y="5976000"/>
              <a:ext cx="288000" cy="180000"/>
            </a:xfrm>
            <a:prstGeom prst="parallelogram">
              <a:avLst>
                <a:gd name="adj" fmla="val 10026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</p:grp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5842685"/>
            <a:ext cx="318394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21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2100" b="1" noProof="0" dirty="0">
              <a:solidFill>
                <a:schemeClr val="accent1"/>
              </a:solidFill>
            </a:endParaRPr>
          </a:p>
        </p:txBody>
      </p:sp>
      <p:pic>
        <p:nvPicPr>
          <p:cNvPr id="9" name="Grafik 8" descr="BalSoBa_blue_rgb.ti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0" y="1844675"/>
            <a:ext cx="9144000" cy="4833982"/>
          </a:xfrm>
          <a:solidFill>
            <a:schemeClr val="accent5"/>
          </a:solidFill>
        </p:spPr>
        <p:txBody>
          <a:bodyPr/>
          <a:lstStyle>
            <a:lvl1pPr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de-CH" noProof="0" dirty="0"/>
          </a:p>
        </p:txBody>
      </p:sp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611188" y="690524"/>
            <a:ext cx="7923213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0"/>
          </p:nvPr>
        </p:nvSpPr>
        <p:spPr>
          <a:xfrm>
            <a:off x="611187" y="1566838"/>
            <a:ext cx="7921626" cy="277838"/>
          </a:xfrm>
        </p:spPr>
        <p:txBody>
          <a:bodyPr/>
          <a:lstStyle>
            <a:lvl1pPr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6165850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1400" b="1" noProof="0" dirty="0">
              <a:solidFill>
                <a:schemeClr val="accent1"/>
              </a:solidFill>
            </a:endParaRPr>
          </a:p>
        </p:txBody>
      </p:sp>
      <p:pic>
        <p:nvPicPr>
          <p:cNvPr id="12" name="Grafik 11" descr="Unbenannt-1.wm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678658"/>
            <a:ext cx="9144000" cy="189976"/>
          </a:xfrm>
          <a:prstGeom prst="rect">
            <a:avLst/>
          </a:prstGeom>
        </p:spPr>
      </p:pic>
      <p:pic>
        <p:nvPicPr>
          <p:cNvPr id="9" name="Grafik 8" descr="BalSoBa_blue_rgb.ti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6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29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5" name="Grafik 14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4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9E7C73D2-7B4D-4BE3-8F0C-CDC290B7A144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16" name="Gerade Verbindung 15"/>
          <p:cNvCxnSpPr/>
          <p:nvPr userDrawn="1"/>
        </p:nvCxnSpPr>
        <p:spPr bwMode="auto">
          <a:xfrm>
            <a:off x="611188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4716463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381635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21" name="Inhaltsplatzhalter 29"/>
          <p:cNvSpPr>
            <a:spLocks noGrp="1"/>
          </p:cNvSpPr>
          <p:nvPr>
            <p:ph sz="quarter" idx="14"/>
          </p:nvPr>
        </p:nvSpPr>
        <p:spPr>
          <a:xfrm>
            <a:off x="4716463" y="1844675"/>
            <a:ext cx="381635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2" name="Grafik 21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Gerade Verbindung 15"/>
          <p:cNvCxnSpPr/>
          <p:nvPr userDrawn="1"/>
        </p:nvCxnSpPr>
        <p:spPr bwMode="auto">
          <a:xfrm>
            <a:off x="611188" y="1844675"/>
            <a:ext cx="2536805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3294045" y="1844675"/>
            <a:ext cx="2555332" cy="357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Inhaltsplatzhalter 29"/>
          <p:cNvSpPr>
            <a:spLocks noGrp="1"/>
          </p:cNvSpPr>
          <p:nvPr>
            <p:ph sz="quarter" idx="15"/>
          </p:nvPr>
        </p:nvSpPr>
        <p:spPr>
          <a:xfrm>
            <a:off x="3294045" y="1844676"/>
            <a:ext cx="255591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1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198655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2536805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CCEC8CC-5EF7-49FF-9024-E9916B22ED36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23" name="Gerade Verbindung 22"/>
          <p:cNvCxnSpPr/>
          <p:nvPr userDrawn="1"/>
        </p:nvCxnSpPr>
        <p:spPr bwMode="auto">
          <a:xfrm>
            <a:off x="5996007" y="1844675"/>
            <a:ext cx="2536215" cy="537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Inhaltsplatzhalter 29"/>
          <p:cNvSpPr>
            <a:spLocks noGrp="1"/>
          </p:cNvSpPr>
          <p:nvPr>
            <p:ph sz="quarter" idx="14"/>
          </p:nvPr>
        </p:nvSpPr>
        <p:spPr>
          <a:xfrm>
            <a:off x="5996007" y="1844675"/>
            <a:ext cx="2536806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0" name="Grafik 19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6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D261DF7D-1C3F-42E3-B883-2D801DE82FBC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21" name="Gerade Verbindung 20"/>
          <p:cNvCxnSpPr/>
          <p:nvPr userDrawn="1"/>
        </p:nvCxnSpPr>
        <p:spPr bwMode="auto">
          <a:xfrm>
            <a:off x="611188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611188" y="4075112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Gerade Verbindung 33"/>
          <p:cNvCxnSpPr/>
          <p:nvPr userDrawn="1"/>
        </p:nvCxnSpPr>
        <p:spPr bwMode="auto">
          <a:xfrm>
            <a:off x="4716463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Gerade Verbindung 35"/>
          <p:cNvCxnSpPr/>
          <p:nvPr userDrawn="1"/>
        </p:nvCxnSpPr>
        <p:spPr bwMode="auto">
          <a:xfrm>
            <a:off x="4716463" y="4075112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9" name="Inhaltsplatzhalter 29"/>
          <p:cNvSpPr>
            <a:spLocks noGrp="1"/>
          </p:cNvSpPr>
          <p:nvPr>
            <p:ph sz="quarter" idx="14"/>
          </p:nvPr>
        </p:nvSpPr>
        <p:spPr>
          <a:xfrm>
            <a:off x="4716463" y="1844675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40" name="Inhaltsplatzhalter 29"/>
          <p:cNvSpPr>
            <a:spLocks noGrp="1"/>
          </p:cNvSpPr>
          <p:nvPr>
            <p:ph sz="quarter" idx="15"/>
          </p:nvPr>
        </p:nvSpPr>
        <p:spPr>
          <a:xfrm>
            <a:off x="611188" y="4076700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41" name="Inhaltsplatzhalter 29"/>
          <p:cNvSpPr>
            <a:spLocks noGrp="1"/>
          </p:cNvSpPr>
          <p:nvPr>
            <p:ph sz="quarter" idx="16"/>
          </p:nvPr>
        </p:nvSpPr>
        <p:spPr>
          <a:xfrm>
            <a:off x="4716463" y="4076700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2" name="Grafik 21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Fliess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6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None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4" name="Grafik 13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4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Datumsplatzhalter 1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4" name="Grafik 13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übersic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0" y="6165850"/>
            <a:ext cx="9144000" cy="6921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aphicFrame>
        <p:nvGraphicFramePr>
          <p:cNvPr id="2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1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/>
          <p:cNvSpPr>
            <a:spLocks noGrp="1"/>
          </p:cNvSpPr>
          <p:nvPr>
            <p:ph type="body" sz="quarter" idx="17"/>
          </p:nvPr>
        </p:nvSpPr>
        <p:spPr>
          <a:xfrm>
            <a:off x="611188" y="692150"/>
            <a:ext cx="7921625" cy="5041900"/>
          </a:xfrm>
        </p:spPr>
        <p:txBody>
          <a:bodyPr>
            <a:normAutofit/>
          </a:bodyPr>
          <a:lstStyle>
            <a:lvl1pPr marL="360000" indent="-360000">
              <a:spcBef>
                <a:spcPts val="0"/>
              </a:spcBef>
              <a:buNone/>
              <a:tabLst>
                <a:tab pos="358775" algn="l"/>
              </a:tabLst>
              <a:defRPr sz="2100" b="1">
                <a:solidFill>
                  <a:schemeClr val="tx2"/>
                </a:solidFill>
              </a:defRPr>
            </a:lvl1pPr>
            <a:lvl2pPr marL="360000" indent="0">
              <a:spcBef>
                <a:spcPts val="0"/>
              </a:spcBef>
              <a:buNone/>
              <a:tabLst/>
              <a:defRPr sz="210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24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28" name="Line 7"/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9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30" name="Gerade Verbindung 29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Gerade Verbindung 30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Datumsplatzhalter 3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fld id="{A521C20E-ED6B-4BD8-A498-F3599D4535F7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3" name="Foliennummernplatzhalter 3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4" name="Fußzeilenplatzhalter 3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5" name="Grafik 14" descr="BalSoBa_blue_rgb.tif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image" Target="../media/image1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BalSoBa_blue_rgb.tif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  <p:graphicFrame>
        <p:nvGraphicFramePr>
          <p:cNvPr id="1026" name="Rectangle 13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23" imgW="0" imgH="0" progId="">
                  <p:embed/>
                </p:oleObj>
              </mc:Choice>
              <mc:Fallback>
                <p:oleObj name="think-cell Slide" r:id="rId23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Mastertitelformat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611187" y="1844674"/>
            <a:ext cx="7921626" cy="432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Mastertextformat bearbeiten</a:t>
            </a:r>
          </a:p>
          <a:p>
            <a:pPr lvl="1"/>
            <a:r>
              <a:rPr lang="de-CH" noProof="0" smtClean="0"/>
              <a:t>Zweite Ebene</a:t>
            </a:r>
          </a:p>
          <a:p>
            <a:pPr lvl="2"/>
            <a:r>
              <a:rPr lang="de-CH" noProof="0" smtClean="0"/>
              <a:t>Drit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  <p:custDataLst>
              <p:tags r:id="rId17"/>
            </p:custDataLst>
          </p:nvPr>
        </p:nvSpPr>
        <p:spPr bwMode="auto">
          <a:xfrm>
            <a:off x="6945344" y="6357958"/>
            <a:ext cx="120492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72000" bIns="900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39E4B9E7-13B1-4F96-88D4-5D9D13F4F742}" type="datetime4">
              <a:rPr lang="de-CH" noProof="0" smtClean="0"/>
              <a:pPr>
                <a:defRPr/>
              </a:pPr>
              <a:t>16. September 2016</a:t>
            </a:fld>
            <a:endParaRPr lang="de-CH" noProof="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2855889" y="6357958"/>
            <a:ext cx="3084534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72000" bIns="900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CH" noProof="0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8150274" y="6357958"/>
            <a:ext cx="38253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0" bIns="9000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aseline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/>
          </a:p>
        </p:txBody>
      </p:sp>
      <p:sp>
        <p:nvSpPr>
          <p:cNvPr id="17" name="Line 7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13" name="Line 7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16" name="Gerade Verbindung 15"/>
          <p:cNvCxnSpPr/>
          <p:nvPr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4" r:id="rId2"/>
    <p:sldLayoutId id="2147483722" r:id="rId3"/>
    <p:sldLayoutId id="2147483728" r:id="rId4"/>
    <p:sldLayoutId id="2147483730" r:id="rId5"/>
    <p:sldLayoutId id="2147483729" r:id="rId6"/>
    <p:sldLayoutId id="2147483725" r:id="rId7"/>
    <p:sldLayoutId id="2147483732" r:id="rId8"/>
    <p:sldLayoutId id="2147483727" r:id="rId9"/>
    <p:sldLayoutId id="2147483731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à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–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Symbol" pitchFamily="18" charset="2"/>
        <a:buChar char="-"/>
        <a:defRPr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4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10" Type="http://schemas.openxmlformats.org/officeDocument/2006/relationships/image" Target="../media/image13.pn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4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 descr="titel3-auto.jpg"/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" r="1"/>
          <a:stretch>
            <a:fillRect/>
          </a:stretch>
        </p:blipFill>
        <p:spPr/>
      </p:pic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igenheim App </a:t>
            </a:r>
            <a:r>
              <a:rPr lang="de-CH" dirty="0" err="1" smtClean="0"/>
              <a:t>by</a:t>
            </a:r>
            <a:r>
              <a:rPr lang="de-CH" dirty="0" smtClean="0"/>
              <a:t> </a:t>
            </a:r>
            <a:r>
              <a:rPr lang="de-CH" dirty="0" err="1" smtClean="0"/>
              <a:t>Balois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smtClean="0"/>
              <a:t>Idee</a:t>
            </a:r>
            <a:endParaRPr lang="de-CH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611188" y="6165850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smtClean="0">
                <a:solidFill>
                  <a:schemeClr val="bg1"/>
                </a:solidFill>
              </a:rPr>
              <a:t>Wir machen Sie sicherer.</a:t>
            </a:r>
            <a:endParaRPr lang="de-CH" sz="1400" b="1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5004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Schlafzimmer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764645" y="4850317"/>
            <a:ext cx="1599444" cy="936104"/>
            <a:chOff x="3764645" y="4850317"/>
            <a:chExt cx="1599444" cy="936104"/>
          </a:xfrm>
        </p:grpSpPr>
        <p:sp>
          <p:nvSpPr>
            <p:cNvPr id="3" name="Rechteck 2"/>
            <p:cNvSpPr/>
            <p:nvPr/>
          </p:nvSpPr>
          <p:spPr bwMode="auto">
            <a:xfrm>
              <a:off x="3764645" y="4850317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628741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9110" y="5368472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2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4588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3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4588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4" name="Picture 8" descr="\\BALGROUPIT.COM\U_DATA\CH\SOB\BAS1\b036702\Desktop\Hackathon\Renovieren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5346779"/>
              <a:ext cx="365161" cy="365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Rechteck 15"/>
          <p:cNvSpPr/>
          <p:nvPr/>
        </p:nvSpPr>
        <p:spPr bwMode="auto">
          <a:xfrm>
            <a:off x="3764644" y="3030475"/>
            <a:ext cx="1599444" cy="9361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0786" name="Picture 2" descr="\\BALGROUPIT.COM\U_DATA\CH\SOB\BAS1\b036702\Desktop\Hackathon\upload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3935" y="3208015"/>
            <a:ext cx="723900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0787" name="Picture 3" descr="\\BALGROUPIT.COM\U_DATA\CH\SOB\BAS1\b036702\Desktop\Hackathon\Kamera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146" y="3208015"/>
            <a:ext cx="581025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203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29522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Grundstück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3" name="Rechteck 2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628741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2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3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31810" name="Picture 2" descr="\\BALGROUPIT.COM\U_DATA\CH\SOB\BAS1\b036702\Desktop\Hackathon\Grundstück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844824"/>
            <a:ext cx="2483039" cy="2735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138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11569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Gemeind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3858" name="Picture 2" descr="\\BALGROUPIT.COM\U_DATA\CH\SOB\BAS1\b036702\Desktop\Hackathon\Gemeind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6279" y="1982454"/>
            <a:ext cx="2389857" cy="2562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62338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2439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Arbeitsweg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4882" name="Picture 2" descr="\\BALGROUPIT.COM\U_DATA\CH\SOB\BAS1\b036702\Desktop\Hackathon\Arbeitsweg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293" y="1916832"/>
            <a:ext cx="2478833" cy="2403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7609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7566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Schul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5906" name="Picture 2" descr="\\BALGROUPIT.COM\U_DATA\CH\SOB\BAS1\b036702\Desktop\Hackathon\Schule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173"/>
          <a:stretch/>
        </p:blipFill>
        <p:spPr bwMode="auto">
          <a:xfrm>
            <a:off x="3426125" y="1844824"/>
            <a:ext cx="2326090" cy="280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4268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1028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Einkaufen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7954" name="Picture 2" descr="\\BALGROUPIT.COM\U_DATA\CH\SOB\BAS1\b036702\Desktop\Hackathon\Einkauf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868" y="1845634"/>
            <a:ext cx="2376263" cy="2582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3323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60300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Nachbarschaft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36930" name="Picture 2" descr="\\BALGROUPIT.COM\U_DATA\CH\SOB\BAS1\b036702\Desktop\Hackathon\Nachbarschaft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082" y="1878975"/>
            <a:ext cx="2418053" cy="2615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3764645" y="4850960"/>
            <a:ext cx="1599444" cy="936104"/>
            <a:chOff x="3764645" y="4850960"/>
            <a:chExt cx="1599444" cy="93610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764645" y="4850960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16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5373216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5231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5231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7734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29522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Eigenheim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7714" name="Picture 2" descr="\\BALGROUPIT.COM\U_DATA\CH\SOB\BAS1\b036702\Desktop\Hackathon\Haus_rated_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785392"/>
            <a:ext cx="2448272" cy="1207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/>
        </p:nvSpPr>
        <p:spPr bwMode="auto">
          <a:xfrm>
            <a:off x="3305333" y="3081435"/>
            <a:ext cx="1224134" cy="27555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9" name="Textfeld 8"/>
          <p:cNvSpPr txBox="1"/>
          <p:nvPr/>
        </p:nvSpPr>
        <p:spPr bwMode="auto">
          <a:xfrm>
            <a:off x="3521356" y="3110912"/>
            <a:ext cx="79989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dirty="0" smtClean="0">
                <a:solidFill>
                  <a:srgbClr val="000000"/>
                </a:solidFill>
              </a:rPr>
              <a:t>Finanzieren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4614129" y="3081435"/>
            <a:ext cx="1224134" cy="27555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3" name="Textfeld 12"/>
          <p:cNvSpPr txBox="1"/>
          <p:nvPr/>
        </p:nvSpPr>
        <p:spPr bwMode="auto">
          <a:xfrm>
            <a:off x="4906296" y="3110912"/>
            <a:ext cx="647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dirty="0" smtClean="0">
                <a:solidFill>
                  <a:srgbClr val="000000"/>
                </a:solidFill>
              </a:rPr>
              <a:t>Bewerten</a:t>
            </a:r>
            <a:endParaRPr lang="de-CH" sz="1200" dirty="0">
              <a:solidFill>
                <a:srgbClr val="000000"/>
              </a:solidFill>
            </a:endParaRPr>
          </a:p>
        </p:txBody>
      </p:sp>
      <p:pic>
        <p:nvPicPr>
          <p:cNvPr id="627715" name="Picture 3" descr="\\BALGROUPIT.COM\U_DATA\CH\SOB\BAS1\b036702\Desktop\Hackathon\Haus_rated_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7778" y="3429000"/>
            <a:ext cx="2458357" cy="113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 14"/>
          <p:cNvSpPr/>
          <p:nvPr/>
        </p:nvSpPr>
        <p:spPr bwMode="auto">
          <a:xfrm>
            <a:off x="3347866" y="4622166"/>
            <a:ext cx="1224134" cy="27555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6" name="Textfeld 15"/>
          <p:cNvSpPr txBox="1"/>
          <p:nvPr/>
        </p:nvSpPr>
        <p:spPr bwMode="auto">
          <a:xfrm>
            <a:off x="3563889" y="4651643"/>
            <a:ext cx="79989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dirty="0" smtClean="0">
                <a:solidFill>
                  <a:srgbClr val="000000"/>
                </a:solidFill>
              </a:rPr>
              <a:t>Finanzieren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4656662" y="4622166"/>
            <a:ext cx="1224134" cy="27555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8" name="Textfeld 17"/>
          <p:cNvSpPr txBox="1"/>
          <p:nvPr/>
        </p:nvSpPr>
        <p:spPr bwMode="auto">
          <a:xfrm>
            <a:off x="4948829" y="4651643"/>
            <a:ext cx="647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dirty="0" smtClean="0">
                <a:solidFill>
                  <a:srgbClr val="000000"/>
                </a:solidFill>
              </a:rPr>
              <a:t>Bewerten</a:t>
            </a:r>
            <a:endParaRPr lang="de-CH" sz="1200" dirty="0">
              <a:solidFill>
                <a:srgbClr val="000000"/>
              </a:solidFill>
            </a:endParaRPr>
          </a:p>
        </p:txBody>
      </p:sp>
      <p:pic>
        <p:nvPicPr>
          <p:cNvPr id="627716" name="Picture 4" descr="\\BALGROUPIT.COM\U_DATA\CH\SOB\BAS1\b036702\Desktop\Hackathon\Haus_rated_3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127"/>
          <a:stretch/>
        </p:blipFill>
        <p:spPr bwMode="auto">
          <a:xfrm>
            <a:off x="3337778" y="5085184"/>
            <a:ext cx="2458358" cy="792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597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8978" name="Picture 2" descr="\\BALGROUPIT.COM\U_DATA\CH\SOB\BAS1\b036702\Desktop\Hackathon\Finanzier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926" y="1374151"/>
            <a:ext cx="2687960" cy="4460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2894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Szene Eigenheim-Kauf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2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7" name="Abgerundete rechteckige Legende 6"/>
          <p:cNvSpPr/>
          <p:nvPr/>
        </p:nvSpPr>
        <p:spPr bwMode="auto">
          <a:xfrm>
            <a:off x="467544" y="1556792"/>
            <a:ext cx="1794044" cy="432048"/>
          </a:xfrm>
          <a:prstGeom prst="wedgeRoundRectCallout">
            <a:avLst>
              <a:gd name="adj1" fmla="val 63910"/>
              <a:gd name="adj2" fmla="val 45765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Cooles Haus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8" name="Abgerundete rechteckige Legende 7"/>
          <p:cNvSpPr/>
          <p:nvPr/>
        </p:nvSpPr>
        <p:spPr bwMode="auto">
          <a:xfrm>
            <a:off x="6156176" y="1827788"/>
            <a:ext cx="1656184" cy="872614"/>
          </a:xfrm>
          <a:prstGeom prst="wedgeRoundRectCallout">
            <a:avLst>
              <a:gd name="adj1" fmla="val -64488"/>
              <a:gd name="adj2" fmla="val 45765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Hm, das ist aber auch ganz hübsch!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9" name="Abgerundete rechteckige Legende 8"/>
          <p:cNvSpPr/>
          <p:nvPr/>
        </p:nvSpPr>
        <p:spPr bwMode="auto">
          <a:xfrm>
            <a:off x="467544" y="2484378"/>
            <a:ext cx="1794044" cy="656590"/>
          </a:xfrm>
          <a:prstGeom prst="wedgeRoundRectCallout">
            <a:avLst>
              <a:gd name="adj1" fmla="val 63910"/>
              <a:gd name="adj2" fmla="val 45765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Hat deines auch einen Pool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0" name="Abgerundete rechteckige Legende 9"/>
          <p:cNvSpPr/>
          <p:nvPr/>
        </p:nvSpPr>
        <p:spPr bwMode="auto">
          <a:xfrm>
            <a:off x="6156176" y="3140968"/>
            <a:ext cx="1656184" cy="720080"/>
          </a:xfrm>
          <a:prstGeom prst="wedgeRoundRectCallout">
            <a:avLst>
              <a:gd name="adj1" fmla="val -64488"/>
              <a:gd name="adj2" fmla="val 45765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Nein, aber drei Badezimmer.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1" name="Abgerundete rechteckige Legende 10"/>
          <p:cNvSpPr/>
          <p:nvPr/>
        </p:nvSpPr>
        <p:spPr bwMode="auto">
          <a:xfrm>
            <a:off x="526945" y="4452984"/>
            <a:ext cx="1794044" cy="1424288"/>
          </a:xfrm>
          <a:prstGeom prst="wedgeRoundRectCallout">
            <a:avLst>
              <a:gd name="adj1" fmla="val 63910"/>
              <a:gd name="adj2" fmla="val 45765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Keine Ahnung. Aber können wir uns deines überhaupt leisten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2" name="Abgerundete rechteckige Legende 11"/>
          <p:cNvSpPr/>
          <p:nvPr/>
        </p:nvSpPr>
        <p:spPr bwMode="auto">
          <a:xfrm>
            <a:off x="6156176" y="5313233"/>
            <a:ext cx="1656184" cy="864096"/>
          </a:xfrm>
          <a:prstGeom prst="wedgeRoundRectCallout">
            <a:avLst>
              <a:gd name="adj1" fmla="val -64488"/>
              <a:gd name="adj2" fmla="val 45765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Uns was kostet</a:t>
            </a:r>
            <a:r>
              <a:rPr kumimoji="0" lang="de-CH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 das alles im Monat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3" name="Abgerundete rechteckige Legende 12"/>
          <p:cNvSpPr/>
          <p:nvPr/>
        </p:nvSpPr>
        <p:spPr bwMode="auto">
          <a:xfrm>
            <a:off x="536474" y="3501008"/>
            <a:ext cx="1794044" cy="600456"/>
          </a:xfrm>
          <a:prstGeom prst="wedgeRoundRectCallout">
            <a:avLst>
              <a:gd name="adj1" fmla="val 63910"/>
              <a:gd name="adj2" fmla="val 45765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Wozu drei Badezimmer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14" name="Abgerundete rechteckige Legende 13"/>
          <p:cNvSpPr/>
          <p:nvPr/>
        </p:nvSpPr>
        <p:spPr bwMode="auto">
          <a:xfrm>
            <a:off x="6156176" y="4101464"/>
            <a:ext cx="1656184" cy="1055728"/>
          </a:xfrm>
          <a:prstGeom prst="wedgeRoundRectCallout">
            <a:avLst>
              <a:gd name="adj1" fmla="val -64488"/>
              <a:gd name="adj2" fmla="val 45765"/>
              <a:gd name="adj3" fmla="val 1666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CH" sz="1600" dirty="0" smtClean="0">
                <a:latin typeface="Arial" pitchFamily="15" charset="0"/>
                <a:ea typeface="ヒラギノ角ゴ Pro W3" pitchFamily="15" charset="-128"/>
                <a:cs typeface="ヒラギノ角ゴ Pro W3" pitchFamily="15" charset="-128"/>
              </a:rPr>
              <a:t>Finde ich toll. Wie lange hast du zur Arbeit von da?</a:t>
            </a:r>
            <a:endParaRPr kumimoji="0" lang="de-CH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6470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Problemstellung Eigenheim-Kauf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CH" sz="2400" dirty="0" smtClean="0"/>
              <a:t>Wie weiss ich, ob ein Eigenheim zu meinen Bedürfnissen passt?</a:t>
            </a:r>
            <a:endParaRPr lang="de-CH" sz="2400" dirty="0" smtClean="0"/>
          </a:p>
          <a:p>
            <a:r>
              <a:rPr lang="de-CH" sz="2400" dirty="0" smtClean="0"/>
              <a:t>Wie kann ich Eigenheime vernünftig vergleichen? </a:t>
            </a:r>
          </a:p>
          <a:p>
            <a:r>
              <a:rPr lang="de-CH" sz="2400" dirty="0"/>
              <a:t>Kann ich mir das Eigenheim </a:t>
            </a:r>
            <a:r>
              <a:rPr lang="de-CH" sz="2400" dirty="0" smtClean="0"/>
              <a:t>überhaupt leisten</a:t>
            </a:r>
            <a:r>
              <a:rPr lang="de-CH" sz="2400" dirty="0"/>
              <a:t>?</a:t>
            </a:r>
          </a:p>
          <a:p>
            <a:r>
              <a:rPr lang="de-CH" sz="2400" dirty="0" smtClean="0"/>
              <a:t>Wie teuer kommt mir das Eigenheim zu stehen?</a:t>
            </a:r>
          </a:p>
          <a:p>
            <a:r>
              <a:rPr lang="de-CH" sz="2400" dirty="0" smtClean="0"/>
              <a:t>An was muss ich alles denken?</a:t>
            </a:r>
            <a:endParaRPr lang="de-CH" sz="240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3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18978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105157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Startseite</a:t>
            </a:r>
            <a:endParaRPr lang="de-CH" sz="1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986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5667" name="Picture 3" descr="\\BALGROUPIT.COM\U_DATA\CH\SOB\BAS1\b036702\Desktop\Hackathon\Meine_Dat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1674856"/>
            <a:ext cx="2522671" cy="369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 bwMode="auto">
          <a:xfrm>
            <a:off x="3347864" y="1309811"/>
            <a:ext cx="13593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Meine Daten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4355976" y="5465948"/>
            <a:ext cx="1442551" cy="27555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sp>
        <p:nvSpPr>
          <p:cNvPr id="9" name="Textfeld 8"/>
          <p:cNvSpPr txBox="1"/>
          <p:nvPr/>
        </p:nvSpPr>
        <p:spPr bwMode="auto">
          <a:xfrm>
            <a:off x="4746727" y="5495425"/>
            <a:ext cx="68929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de-CH" sz="1200" dirty="0" smtClean="0">
                <a:solidFill>
                  <a:srgbClr val="000000"/>
                </a:solidFill>
              </a:rPr>
              <a:t>Speichern</a:t>
            </a:r>
            <a:endParaRPr lang="de-CH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64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24622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Eigenheim hinzufügen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6690" name="Picture 2" descr="\\BALGROUPIT.COM\U_DATA\CH\SOB\BAS1\b036702\Desktop\Hackathon\Eigenheim_erfass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733" y="1700808"/>
            <a:ext cx="2504531" cy="2005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0426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8335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Aussen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8738" name="Picture 2" descr="\\BALGROUPIT.COM\U_DATA\CH\SOB\BAS1\b036702\Desktop\Hackathon\Aussen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372" y="1849188"/>
            <a:ext cx="2397809" cy="1596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39" name="Picture 3" descr="\\BALGROUPIT.COM\U_DATA\CH\SOB\BAS1\b036702\Desktop\Hackathon\Aussen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464" y="3573017"/>
            <a:ext cx="2371717" cy="156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40" name="Picture 4" descr="\\BALGROUPIT.COM\U_DATA\CH\SOB\BAS1\b036702\Desktop\Hackathon\Aussen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091"/>
          <a:stretch/>
        </p:blipFill>
        <p:spPr bwMode="auto">
          <a:xfrm>
            <a:off x="3402463" y="5229200"/>
            <a:ext cx="2379663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/>
          <p:cNvSpPr/>
          <p:nvPr/>
        </p:nvSpPr>
        <p:spPr bwMode="auto">
          <a:xfrm>
            <a:off x="3764645" y="4850317"/>
            <a:ext cx="1599444" cy="936104"/>
          </a:xfrm>
          <a:prstGeom prst="rect">
            <a:avLst/>
          </a:prstGeom>
          <a:solidFill>
            <a:schemeClr val="bg1"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8741" name="Picture 5" descr="\\BALGROUPIT.COM\U_DATA\CH\SOB\BAS1\b036702\Desktop\Hackathon\Love.PN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110" y="5368472"/>
            <a:ext cx="349099" cy="343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42" name="Picture 6" descr="\\BALGROUPIT.COM\U_DATA\CH\SOB\BAS1\b036702\Desktop\Hackathon\Smile_gut.PNG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019" y="4914588"/>
            <a:ext cx="378808" cy="357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43" name="Picture 7" descr="\\BALGROUPIT.COM\U_DATA\CH\SOB\BAS1\b036702\Desktop\Hackathon\Smile_schlecht.PNG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7511" y="4914588"/>
            <a:ext cx="385965" cy="357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8744" name="Picture 8" descr="\\BALGROUPIT.COM\U_DATA\CH\SOB\BAS1\b036702\Desktop\Hackathon\Renovieren.PNG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7511" y="5346779"/>
            <a:ext cx="365161" cy="36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278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43601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Bad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9763" name="Picture 3" descr="\\BALGROUPIT.COM\U_DATA\CH\SOB\BAS1\b036702\Desktop\Hackathon\Bad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3529052"/>
            <a:ext cx="2384395" cy="158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9762" name="Picture 2" descr="\\BALGROUPIT.COM\U_DATA\CH\SOB\BAS1\b036702\Desktop\Hackathon\Bad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318" y="1853478"/>
            <a:ext cx="2391364" cy="1591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pieren 4"/>
          <p:cNvGrpSpPr/>
          <p:nvPr/>
        </p:nvGrpSpPr>
        <p:grpSpPr>
          <a:xfrm>
            <a:off x="3764645" y="4850317"/>
            <a:ext cx="1599444" cy="936104"/>
            <a:chOff x="3764645" y="4850317"/>
            <a:chExt cx="1599444" cy="936104"/>
          </a:xfrm>
        </p:grpSpPr>
        <p:sp>
          <p:nvSpPr>
            <p:cNvPr id="3" name="Rechteck 2"/>
            <p:cNvSpPr/>
            <p:nvPr/>
          </p:nvSpPr>
          <p:spPr bwMode="auto">
            <a:xfrm>
              <a:off x="3764645" y="4850317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628741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9110" y="5368472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2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4588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3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4588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4" name="Picture 8" descr="\\BALGROUPIT.COM\U_DATA\CH\SOB\BAS1\b036702\Desktop\Hackathon\Renovieren.PNG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5346779"/>
              <a:ext cx="365161" cy="365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6053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0" y="6237312"/>
            <a:ext cx="9144000" cy="6206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256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776" y="32887"/>
            <a:ext cx="3424447" cy="682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 bwMode="auto">
          <a:xfrm>
            <a:off x="3347864" y="1309811"/>
            <a:ext cx="7053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de-CH" sz="1800" b="1" dirty="0" smtClean="0">
                <a:solidFill>
                  <a:srgbClr val="000000"/>
                </a:solidFill>
              </a:rPr>
              <a:t>Küche</a:t>
            </a:r>
            <a:endParaRPr lang="de-CH" sz="1800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203848" y="1700808"/>
            <a:ext cx="2736304" cy="417646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764645" y="4850317"/>
            <a:ext cx="1599444" cy="936104"/>
            <a:chOff x="3764645" y="4850317"/>
            <a:chExt cx="1599444" cy="936104"/>
          </a:xfrm>
        </p:grpSpPr>
        <p:sp>
          <p:nvSpPr>
            <p:cNvPr id="3" name="Rechteck 2"/>
            <p:cNvSpPr/>
            <p:nvPr/>
          </p:nvSpPr>
          <p:spPr bwMode="auto">
            <a:xfrm>
              <a:off x="3764645" y="4850317"/>
              <a:ext cx="1599444" cy="93610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pic>
          <p:nvPicPr>
            <p:cNvPr id="628741" name="Picture 5" descr="\\BALGROUPIT.COM\U_DATA\CH\SOB\BAS1\b036702\Desktop\Hackathon\Love.PN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9110" y="5368472"/>
              <a:ext cx="349099" cy="343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2" name="Picture 6" descr="\\BALGROUPIT.COM\U_DATA\CH\SOB\BAS1\b036702\Desktop\Hackathon\Smile_gut.PN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019" y="4914588"/>
              <a:ext cx="378808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3" name="Picture 7" descr="\\BALGROUPIT.COM\U_DATA\CH\SOB\BAS1\b036702\Desktop\Hackathon\Smile_schlecht.PN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4914588"/>
              <a:ext cx="385965" cy="357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8744" name="Picture 8" descr="\\BALGROUPIT.COM\U_DATA\CH\SOB\BAS1\b036702\Desktop\Hackathon\Renovieren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7511" y="5346779"/>
              <a:ext cx="365161" cy="365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32834" name="Picture 2" descr="\\BALGROUPIT.COM\U_DATA\CH\SOB\BAS1\b036702\Desktop\Hackathon\Kueche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031" y="1845172"/>
            <a:ext cx="2484105" cy="165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11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652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1&quot;&gt;&lt;elem&gt;&lt;m_ppcolschidx val=&quot;0&quot;/&gt;&lt;m_rgb r=&quot;0&quot; g=&quot;4f&quot; b=&quot;f2&quot;/&gt;&lt;/elem&gt;&lt;/m_vecMRU&gt;&lt;/m_mruColor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86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z4KeqMY0.liUcDV_oa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J8xmwrc06PAZzOnXIT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Sya3vCVECxFplM0EvZ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0QaCiTW0iFh2pr.W9z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heme/theme1.xml><?xml version="1.0" encoding="utf-8"?>
<a:theme xmlns:a="http://schemas.openxmlformats.org/drawingml/2006/main" name="BAS_Template_DE_CH_SoBa_270209">
  <a:themeElements>
    <a:clrScheme name="Baloise">
      <a:dk1>
        <a:srgbClr val="000000"/>
      </a:dk1>
      <a:lt1>
        <a:srgbClr val="FFFFFF"/>
      </a:lt1>
      <a:dk2>
        <a:srgbClr val="003399"/>
      </a:dk2>
      <a:lt2>
        <a:srgbClr val="EBF0FA"/>
      </a:lt2>
      <a:accent1>
        <a:srgbClr val="00A5D5"/>
      </a:accent1>
      <a:accent2>
        <a:srgbClr val="E64366"/>
      </a:accent2>
      <a:accent3>
        <a:srgbClr val="F6A800"/>
      </a:accent3>
      <a:accent4>
        <a:srgbClr val="FFDC44"/>
      </a:accent4>
      <a:accent5>
        <a:srgbClr val="CCCCCC"/>
      </a:accent5>
      <a:accent6>
        <a:srgbClr val="B7007A"/>
      </a:accent6>
      <a:hlink>
        <a:srgbClr val="B7007A"/>
      </a:hlink>
      <a:folHlink>
        <a:srgbClr val="B7007A"/>
      </a:folHlink>
    </a:clrScheme>
    <a:fontScheme name="Leere Prä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15" charset="0"/>
            <a:ea typeface="ヒラギノ角ゴ Pro W3" pitchFamily="15" charset="-128"/>
            <a:cs typeface="ヒラギノ角ゴ Pro W3" pitchFamily="15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15" charset="0"/>
            <a:ea typeface="ヒラギノ角ゴ Pro W3" pitchFamily="15" charset="-128"/>
            <a:cs typeface="ヒラギノ角ゴ Pro W3" pitchFamily="15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/>
      <a:lstStyle>
        <a:defPPr marL="342900" indent="-342900">
          <a:spcBef>
            <a:spcPct val="20000"/>
          </a:spcBef>
          <a:buClr>
            <a:schemeClr val="accent1"/>
          </a:buClr>
          <a:buFont typeface="Wingdings" pitchFamily="2" charset="2"/>
          <a:buChar char="à"/>
          <a:defRPr sz="1800" dirty="0">
            <a:solidFill>
              <a:srgbClr val="000000"/>
            </a:solidFill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4C93"/>
        </a:dk2>
        <a:lt2>
          <a:srgbClr val="FFFFFF"/>
        </a:lt2>
        <a:accent1>
          <a:srgbClr val="FF9900"/>
        </a:accent1>
        <a:accent2>
          <a:srgbClr val="62BDE5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58ABCF"/>
        </a:accent6>
        <a:hlink>
          <a:srgbClr val="CC0099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S_Template_DE_CH_SoBa_270209</Template>
  <TotalTime>0</TotalTime>
  <Words>202</Words>
  <Application>Microsoft Office PowerPoint</Application>
  <PresentationFormat>Bildschirmpräsentation (4:3)</PresentationFormat>
  <Paragraphs>86</Paragraphs>
  <Slides>19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1" baseType="lpstr">
      <vt:lpstr>BAS_Template_DE_CH_SoBa_270209</vt:lpstr>
      <vt:lpstr>think-cell Slide</vt:lpstr>
      <vt:lpstr>Eigenheim App by Baloise</vt:lpstr>
      <vt:lpstr>Szene Eigenheim-Kauf</vt:lpstr>
      <vt:lpstr>Problemstellung Eigenheim-Kauf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Baloise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s Zalando</dc:title>
  <dc:creator>Sutter, Roger</dc:creator>
  <cp:lastModifiedBy>Sutter, Roger</cp:lastModifiedBy>
  <cp:revision>35</cp:revision>
  <cp:lastPrinted>2008-08-14T16:17:16Z</cp:lastPrinted>
  <dcterms:created xsi:type="dcterms:W3CDTF">2016-05-02T06:18:58Z</dcterms:created>
  <dcterms:modified xsi:type="dcterms:W3CDTF">2016-09-16T16:24:00Z</dcterms:modified>
</cp:coreProperties>
</file>